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6"/>
  </p:notesMasterIdLst>
  <p:sldIdLst>
    <p:sldId id="257" r:id="rId3"/>
    <p:sldId id="285" r:id="rId4"/>
    <p:sldId id="286" r:id="rId5"/>
    <p:sldId id="299" r:id="rId6"/>
    <p:sldId id="300" r:id="rId7"/>
    <p:sldId id="291" r:id="rId8"/>
    <p:sldId id="292" r:id="rId9"/>
    <p:sldId id="293" r:id="rId10"/>
    <p:sldId id="294" r:id="rId11"/>
    <p:sldId id="295" r:id="rId12"/>
    <p:sldId id="296" r:id="rId13"/>
    <p:sldId id="297" r:id="rId14"/>
    <p:sldId id="298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90" d="100"/>
          <a:sy n="90" d="100"/>
        </p:scale>
        <p:origin x="48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eep Reddy Hanumaihgari" userId="86a9f56c-2e65-4a80-9d64-63b9c07412a6" providerId="ADAL" clId="{FC37BFA0-917C-4963-A7EC-F87FA73709AD}"/>
    <pc:docChg chg="custSel addSld delSld modSld">
      <pc:chgData name="Sandeep Reddy Hanumaihgari" userId="86a9f56c-2e65-4a80-9d64-63b9c07412a6" providerId="ADAL" clId="{FC37BFA0-917C-4963-A7EC-F87FA73709AD}" dt="2018-05-05T07:22:55.896" v="108" actId="2696"/>
      <pc:docMkLst>
        <pc:docMk/>
      </pc:docMkLst>
      <pc:sldChg chg="addSp delSp modSp">
        <pc:chgData name="Sandeep Reddy Hanumaihgari" userId="86a9f56c-2e65-4a80-9d64-63b9c07412a6" providerId="ADAL" clId="{FC37BFA0-917C-4963-A7EC-F87FA73709AD}" dt="2018-05-05T07:07:56.721" v="6" actId="1076"/>
        <pc:sldMkLst>
          <pc:docMk/>
          <pc:sldMk cId="4271528126" sldId="285"/>
        </pc:sldMkLst>
        <pc:spChg chg="mod">
          <ac:chgData name="Sandeep Reddy Hanumaihgari" userId="86a9f56c-2e65-4a80-9d64-63b9c07412a6" providerId="ADAL" clId="{FC37BFA0-917C-4963-A7EC-F87FA73709AD}" dt="2018-05-05T07:07:46.908" v="2" actId="20577"/>
          <ac:spMkLst>
            <pc:docMk/>
            <pc:sldMk cId="4271528126" sldId="285"/>
            <ac:spMk id="3" creationId="{EC7602B1-4388-46FB-90BB-55A2722EA939}"/>
          </ac:spMkLst>
        </pc:spChg>
        <pc:picChg chg="add mod">
          <ac:chgData name="Sandeep Reddy Hanumaihgari" userId="86a9f56c-2e65-4a80-9d64-63b9c07412a6" providerId="ADAL" clId="{FC37BFA0-917C-4963-A7EC-F87FA73709AD}" dt="2018-05-05T07:07:56.721" v="6" actId="1076"/>
          <ac:picMkLst>
            <pc:docMk/>
            <pc:sldMk cId="4271528126" sldId="285"/>
            <ac:picMk id="2" creationId="{DABD0BAA-430F-4647-8A96-980ACB5D7F5A}"/>
          </ac:picMkLst>
        </pc:picChg>
        <pc:picChg chg="del">
          <ac:chgData name="Sandeep Reddy Hanumaihgari" userId="86a9f56c-2e65-4a80-9d64-63b9c07412a6" providerId="ADAL" clId="{FC37BFA0-917C-4963-A7EC-F87FA73709AD}" dt="2018-05-05T07:07:42.512" v="0" actId="478"/>
          <ac:picMkLst>
            <pc:docMk/>
            <pc:sldMk cId="4271528126" sldId="285"/>
            <ac:picMk id="4" creationId="{FA50967F-AF25-4604-A2C5-0B6005B1E6EC}"/>
          </ac:picMkLst>
        </pc:picChg>
      </pc:sldChg>
      <pc:sldChg chg="addSp delSp modSp">
        <pc:chgData name="Sandeep Reddy Hanumaihgari" userId="86a9f56c-2e65-4a80-9d64-63b9c07412a6" providerId="ADAL" clId="{FC37BFA0-917C-4963-A7EC-F87FA73709AD}" dt="2018-05-05T07:09:06.538" v="18" actId="14100"/>
        <pc:sldMkLst>
          <pc:docMk/>
          <pc:sldMk cId="2328822948" sldId="286"/>
        </pc:sldMkLst>
        <pc:spChg chg="mod">
          <ac:chgData name="Sandeep Reddy Hanumaihgari" userId="86a9f56c-2e65-4a80-9d64-63b9c07412a6" providerId="ADAL" clId="{FC37BFA0-917C-4963-A7EC-F87FA73709AD}" dt="2018-05-05T07:09:06.538" v="18" actId="14100"/>
          <ac:spMkLst>
            <pc:docMk/>
            <pc:sldMk cId="2328822948" sldId="286"/>
            <ac:spMk id="2" creationId="{568BDF3B-07B7-4D86-88DE-638353C0244F}"/>
          </ac:spMkLst>
        </pc:spChg>
        <pc:spChg chg="del mod">
          <ac:chgData name="Sandeep Reddy Hanumaihgari" userId="86a9f56c-2e65-4a80-9d64-63b9c07412a6" providerId="ADAL" clId="{FC37BFA0-917C-4963-A7EC-F87FA73709AD}" dt="2018-05-05T07:08:27.748" v="9" actId="478"/>
          <ac:spMkLst>
            <pc:docMk/>
            <pc:sldMk cId="2328822948" sldId="286"/>
            <ac:spMk id="5" creationId="{7D1B328F-79B0-4562-8726-6923B8A57940}"/>
          </ac:spMkLst>
        </pc:spChg>
        <pc:spChg chg="add del mod">
          <ac:chgData name="Sandeep Reddy Hanumaihgari" userId="86a9f56c-2e65-4a80-9d64-63b9c07412a6" providerId="ADAL" clId="{FC37BFA0-917C-4963-A7EC-F87FA73709AD}" dt="2018-05-05T07:08:32.527" v="11" actId="478"/>
          <ac:spMkLst>
            <pc:docMk/>
            <pc:sldMk cId="2328822948" sldId="286"/>
            <ac:spMk id="6" creationId="{C4D18786-4EEC-4B9C-BAF6-D14C9E184776}"/>
          </ac:spMkLst>
        </pc:spChg>
        <pc:picChg chg="del">
          <ac:chgData name="Sandeep Reddy Hanumaihgari" userId="86a9f56c-2e65-4a80-9d64-63b9c07412a6" providerId="ADAL" clId="{FC37BFA0-917C-4963-A7EC-F87FA73709AD}" dt="2018-05-05T07:08:30.438" v="10" actId="478"/>
          <ac:picMkLst>
            <pc:docMk/>
            <pc:sldMk cId="2328822948" sldId="286"/>
            <ac:picMk id="4" creationId="{5EED7D32-E59A-441B-8B8F-E1391E142803}"/>
          </ac:picMkLst>
        </pc:picChg>
        <pc:picChg chg="add mod">
          <ac:chgData name="Sandeep Reddy Hanumaihgari" userId="86a9f56c-2e65-4a80-9d64-63b9c07412a6" providerId="ADAL" clId="{FC37BFA0-917C-4963-A7EC-F87FA73709AD}" dt="2018-05-05T07:08:54.676" v="13" actId="1076"/>
          <ac:picMkLst>
            <pc:docMk/>
            <pc:sldMk cId="2328822948" sldId="286"/>
            <ac:picMk id="7" creationId="{5F72AE0E-D215-46C0-9E6B-62659E598D9E}"/>
          </ac:picMkLst>
        </pc:picChg>
      </pc:sldChg>
      <pc:sldChg chg="addSp delSp modSp del">
        <pc:chgData name="Sandeep Reddy Hanumaihgari" userId="86a9f56c-2e65-4a80-9d64-63b9c07412a6" providerId="ADAL" clId="{FC37BFA0-917C-4963-A7EC-F87FA73709AD}" dt="2018-05-05T07:22:55.802" v="99" actId="2696"/>
        <pc:sldMkLst>
          <pc:docMk/>
          <pc:sldMk cId="260280166" sldId="287"/>
        </pc:sldMkLst>
        <pc:spChg chg="mod">
          <ac:chgData name="Sandeep Reddy Hanumaihgari" userId="86a9f56c-2e65-4a80-9d64-63b9c07412a6" providerId="ADAL" clId="{FC37BFA0-917C-4963-A7EC-F87FA73709AD}" dt="2018-05-05T07:12:26.392" v="45" actId="1076"/>
          <ac:spMkLst>
            <pc:docMk/>
            <pc:sldMk cId="260280166" sldId="287"/>
            <ac:spMk id="2" creationId="{2971C945-41DD-4C37-A0BC-D8DF9FB2AB17}"/>
          </ac:spMkLst>
        </pc:spChg>
        <pc:spChg chg="del mod">
          <ac:chgData name="Sandeep Reddy Hanumaihgari" userId="86a9f56c-2e65-4a80-9d64-63b9c07412a6" providerId="ADAL" clId="{FC37BFA0-917C-4963-A7EC-F87FA73709AD}" dt="2018-05-05T07:12:50.387" v="47" actId="478"/>
          <ac:spMkLst>
            <pc:docMk/>
            <pc:sldMk cId="260280166" sldId="287"/>
            <ac:spMk id="3" creationId="{DD65B95D-4888-4A1F-86D6-52D6A74CF05B}"/>
          </ac:spMkLst>
        </pc:spChg>
        <pc:spChg chg="add del mod">
          <ac:chgData name="Sandeep Reddy Hanumaihgari" userId="86a9f56c-2e65-4a80-9d64-63b9c07412a6" providerId="ADAL" clId="{FC37BFA0-917C-4963-A7EC-F87FA73709AD}" dt="2018-05-05T07:12:53.174" v="48" actId="478"/>
          <ac:spMkLst>
            <pc:docMk/>
            <pc:sldMk cId="260280166" sldId="287"/>
            <ac:spMk id="5" creationId="{025E5680-5956-4263-A44D-EC1D133E94B5}"/>
          </ac:spMkLst>
        </pc:spChg>
        <pc:picChg chg="add mod">
          <ac:chgData name="Sandeep Reddy Hanumaihgari" userId="86a9f56c-2e65-4a80-9d64-63b9c07412a6" providerId="ADAL" clId="{FC37BFA0-917C-4963-A7EC-F87FA73709AD}" dt="2018-05-05T07:13:00.939" v="51" actId="1076"/>
          <ac:picMkLst>
            <pc:docMk/>
            <pc:sldMk cId="260280166" sldId="287"/>
            <ac:picMk id="6" creationId="{502F745C-2412-46CD-A639-00D85CEA2D1C}"/>
          </ac:picMkLst>
        </pc:picChg>
      </pc:sldChg>
      <pc:sldChg chg="addSp delSp modSp del">
        <pc:chgData name="Sandeep Reddy Hanumaihgari" userId="86a9f56c-2e65-4a80-9d64-63b9c07412a6" providerId="ADAL" clId="{FC37BFA0-917C-4963-A7EC-F87FA73709AD}" dt="2018-05-05T07:22:55.818" v="101" actId="2696"/>
        <pc:sldMkLst>
          <pc:docMk/>
          <pc:sldMk cId="75379165" sldId="288"/>
        </pc:sldMkLst>
        <pc:spChg chg="mod">
          <ac:chgData name="Sandeep Reddy Hanumaihgari" userId="86a9f56c-2e65-4a80-9d64-63b9c07412a6" providerId="ADAL" clId="{FC37BFA0-917C-4963-A7EC-F87FA73709AD}" dt="2018-05-05T07:14:19.841" v="59" actId="1076"/>
          <ac:spMkLst>
            <pc:docMk/>
            <pc:sldMk cId="75379165" sldId="288"/>
            <ac:spMk id="2" creationId="{A168AD56-A5AD-470D-92FC-185D035BEAF3}"/>
          </ac:spMkLst>
        </pc:spChg>
        <pc:spChg chg="add del mod">
          <ac:chgData name="Sandeep Reddy Hanumaihgari" userId="86a9f56c-2e65-4a80-9d64-63b9c07412a6" providerId="ADAL" clId="{FC37BFA0-917C-4963-A7EC-F87FA73709AD}" dt="2018-05-05T07:14:26.210" v="62" actId="478"/>
          <ac:spMkLst>
            <pc:docMk/>
            <pc:sldMk cId="75379165" sldId="288"/>
            <ac:spMk id="6" creationId="{CC05E72A-461B-42BF-89D2-451368C12837}"/>
          </ac:spMkLst>
        </pc:spChg>
        <pc:picChg chg="del">
          <ac:chgData name="Sandeep Reddy Hanumaihgari" userId="86a9f56c-2e65-4a80-9d64-63b9c07412a6" providerId="ADAL" clId="{FC37BFA0-917C-4963-A7EC-F87FA73709AD}" dt="2018-05-05T07:14:23.518" v="61" actId="478"/>
          <ac:picMkLst>
            <pc:docMk/>
            <pc:sldMk cId="75379165" sldId="288"/>
            <ac:picMk id="4" creationId="{55751C30-FAFC-44FB-9C57-A7F70DADC426}"/>
          </ac:picMkLst>
        </pc:picChg>
        <pc:picChg chg="del">
          <ac:chgData name="Sandeep Reddy Hanumaihgari" userId="86a9f56c-2e65-4a80-9d64-63b9c07412a6" providerId="ADAL" clId="{FC37BFA0-917C-4963-A7EC-F87FA73709AD}" dt="2018-05-05T07:14:21.855" v="60" actId="478"/>
          <ac:picMkLst>
            <pc:docMk/>
            <pc:sldMk cId="75379165" sldId="288"/>
            <ac:picMk id="5" creationId="{A4832262-C011-4208-829B-2BDC9F2B7E28}"/>
          </ac:picMkLst>
        </pc:picChg>
        <pc:picChg chg="add mod">
          <ac:chgData name="Sandeep Reddy Hanumaihgari" userId="86a9f56c-2e65-4a80-9d64-63b9c07412a6" providerId="ADAL" clId="{FC37BFA0-917C-4963-A7EC-F87FA73709AD}" dt="2018-05-05T07:14:48.932" v="64" actId="1076"/>
          <ac:picMkLst>
            <pc:docMk/>
            <pc:sldMk cId="75379165" sldId="288"/>
            <ac:picMk id="7" creationId="{28D02C82-D9CC-45CB-A1B2-C75C1DD84102}"/>
          </ac:picMkLst>
        </pc:picChg>
      </pc:sldChg>
      <pc:sldChg chg="del">
        <pc:chgData name="Sandeep Reddy Hanumaihgari" userId="86a9f56c-2e65-4a80-9d64-63b9c07412a6" providerId="ADAL" clId="{FC37BFA0-917C-4963-A7EC-F87FA73709AD}" dt="2018-05-05T07:20:21.776" v="98" actId="2696"/>
        <pc:sldMkLst>
          <pc:docMk/>
          <pc:sldMk cId="2441493661" sldId="289"/>
        </pc:sldMkLst>
      </pc:sldChg>
      <pc:sldChg chg="addSp delSp modSp del">
        <pc:chgData name="Sandeep Reddy Hanumaihgari" userId="86a9f56c-2e65-4a80-9d64-63b9c07412a6" providerId="ADAL" clId="{FC37BFA0-917C-4963-A7EC-F87FA73709AD}" dt="2018-05-05T07:22:55.818" v="100" actId="2696"/>
        <pc:sldMkLst>
          <pc:docMk/>
          <pc:sldMk cId="2119206005" sldId="290"/>
        </pc:sldMkLst>
        <pc:spChg chg="add mod">
          <ac:chgData name="Sandeep Reddy Hanumaihgari" userId="86a9f56c-2e65-4a80-9d64-63b9c07412a6" providerId="ADAL" clId="{FC37BFA0-917C-4963-A7EC-F87FA73709AD}" dt="2018-05-05T07:13:29.107" v="53" actId="1076"/>
          <ac:spMkLst>
            <pc:docMk/>
            <pc:sldMk cId="2119206005" sldId="290"/>
            <ac:spMk id="3" creationId="{B3206583-9377-4109-86B3-13972618E3C7}"/>
          </ac:spMkLst>
        </pc:spChg>
        <pc:spChg chg="add del mod">
          <ac:chgData name="Sandeep Reddy Hanumaihgari" userId="86a9f56c-2e65-4a80-9d64-63b9c07412a6" providerId="ADAL" clId="{FC37BFA0-917C-4963-A7EC-F87FA73709AD}" dt="2018-05-05T07:13:59.033" v="55" actId="478"/>
          <ac:spMkLst>
            <pc:docMk/>
            <pc:sldMk cId="2119206005" sldId="290"/>
            <ac:spMk id="5" creationId="{86C152E6-9E45-4E1C-B87A-78C3003D27A5}"/>
          </ac:spMkLst>
        </pc:spChg>
        <pc:picChg chg="del">
          <ac:chgData name="Sandeep Reddy Hanumaihgari" userId="86a9f56c-2e65-4a80-9d64-63b9c07412a6" providerId="ADAL" clId="{FC37BFA0-917C-4963-A7EC-F87FA73709AD}" dt="2018-05-05T07:13:56.530" v="54" actId="478"/>
          <ac:picMkLst>
            <pc:docMk/>
            <pc:sldMk cId="2119206005" sldId="290"/>
            <ac:picMk id="4" creationId="{EA5E41B5-96FE-4670-8F25-55E5C006B660}"/>
          </ac:picMkLst>
        </pc:picChg>
        <pc:picChg chg="add mod">
          <ac:chgData name="Sandeep Reddy Hanumaihgari" userId="86a9f56c-2e65-4a80-9d64-63b9c07412a6" providerId="ADAL" clId="{FC37BFA0-917C-4963-A7EC-F87FA73709AD}" dt="2018-05-05T07:14:05.590" v="58" actId="1076"/>
          <ac:picMkLst>
            <pc:docMk/>
            <pc:sldMk cId="2119206005" sldId="290"/>
            <ac:picMk id="6" creationId="{FDD7BDD3-5D4F-49D4-81E0-919645E70B65}"/>
          </ac:picMkLst>
        </pc:picChg>
      </pc:sldChg>
      <pc:sldChg chg="addSp delSp modSp add">
        <pc:chgData name="Sandeep Reddy Hanumaihgari" userId="86a9f56c-2e65-4a80-9d64-63b9c07412a6" providerId="ADAL" clId="{FC37BFA0-917C-4963-A7EC-F87FA73709AD}" dt="2018-05-05T07:10:38.887" v="30" actId="2696"/>
        <pc:sldMkLst>
          <pc:docMk/>
          <pc:sldMk cId="3584930177" sldId="299"/>
        </pc:sldMkLst>
        <pc:spChg chg="del">
          <ac:chgData name="Sandeep Reddy Hanumaihgari" userId="86a9f56c-2e65-4a80-9d64-63b9c07412a6" providerId="ADAL" clId="{FC37BFA0-917C-4963-A7EC-F87FA73709AD}" dt="2018-05-05T07:09:29.986" v="20" actId="478"/>
          <ac:spMkLst>
            <pc:docMk/>
            <pc:sldMk cId="3584930177" sldId="299"/>
            <ac:spMk id="2" creationId="{104B5AEF-9AC3-4CB7-90B1-7A663B408283}"/>
          </ac:spMkLst>
        </pc:spChg>
        <pc:spChg chg="del">
          <ac:chgData name="Sandeep Reddy Hanumaihgari" userId="86a9f56c-2e65-4a80-9d64-63b9c07412a6" providerId="ADAL" clId="{FC37BFA0-917C-4963-A7EC-F87FA73709AD}" dt="2018-05-05T07:09:38.301" v="23" actId="478"/>
          <ac:spMkLst>
            <pc:docMk/>
            <pc:sldMk cId="3584930177" sldId="299"/>
            <ac:spMk id="3" creationId="{1186EDC9-7A19-4E59-A2AD-21EC45497BFD}"/>
          </ac:spMkLst>
        </pc:spChg>
        <pc:spChg chg="add mod">
          <ac:chgData name="Sandeep Reddy Hanumaihgari" userId="86a9f56c-2e65-4a80-9d64-63b9c07412a6" providerId="ADAL" clId="{FC37BFA0-917C-4963-A7EC-F87FA73709AD}" dt="2018-05-05T07:10:38.887" v="30" actId="2696"/>
          <ac:spMkLst>
            <pc:docMk/>
            <pc:sldMk cId="3584930177" sldId="299"/>
            <ac:spMk id="4" creationId="{B15D9483-A8B0-40BA-85AA-AC787AFBFAC4}"/>
          </ac:spMkLst>
        </pc:spChg>
        <pc:picChg chg="add mod">
          <ac:chgData name="Sandeep Reddy Hanumaihgari" userId="86a9f56c-2e65-4a80-9d64-63b9c07412a6" providerId="ADAL" clId="{FC37BFA0-917C-4963-A7EC-F87FA73709AD}" dt="2018-05-05T07:10:07.323" v="27" actId="1076"/>
          <ac:picMkLst>
            <pc:docMk/>
            <pc:sldMk cId="3584930177" sldId="299"/>
            <ac:picMk id="5" creationId="{093CA67D-169F-4CA8-AE20-76A9FE9510B7}"/>
          </ac:picMkLst>
        </pc:picChg>
      </pc:sldChg>
      <pc:sldChg chg="addSp delSp modSp add">
        <pc:chgData name="Sandeep Reddy Hanumaihgari" userId="86a9f56c-2e65-4a80-9d64-63b9c07412a6" providerId="ADAL" clId="{FC37BFA0-917C-4963-A7EC-F87FA73709AD}" dt="2018-05-05T07:11:23.052" v="38" actId="1076"/>
        <pc:sldMkLst>
          <pc:docMk/>
          <pc:sldMk cId="3373537527" sldId="300"/>
        </pc:sldMkLst>
        <pc:spChg chg="mod">
          <ac:chgData name="Sandeep Reddy Hanumaihgari" userId="86a9f56c-2e65-4a80-9d64-63b9c07412a6" providerId="ADAL" clId="{FC37BFA0-917C-4963-A7EC-F87FA73709AD}" dt="2018-05-05T07:10:26.440" v="29" actId="1076"/>
          <ac:spMkLst>
            <pc:docMk/>
            <pc:sldMk cId="3373537527" sldId="300"/>
            <ac:spMk id="2" creationId="{932AE1CE-8C77-484F-A851-A7084B657DE4}"/>
          </ac:spMkLst>
        </pc:spChg>
        <pc:spChg chg="del">
          <ac:chgData name="Sandeep Reddy Hanumaihgari" userId="86a9f56c-2e65-4a80-9d64-63b9c07412a6" providerId="ADAL" clId="{FC37BFA0-917C-4963-A7EC-F87FA73709AD}" dt="2018-05-05T07:11:09.354" v="31" actId="478"/>
          <ac:spMkLst>
            <pc:docMk/>
            <pc:sldMk cId="3373537527" sldId="300"/>
            <ac:spMk id="3" creationId="{BE5B55CD-C5E9-4CD9-87D7-C7025FAF3114}"/>
          </ac:spMkLst>
        </pc:spChg>
        <pc:picChg chg="add mod">
          <ac:chgData name="Sandeep Reddy Hanumaihgari" userId="86a9f56c-2e65-4a80-9d64-63b9c07412a6" providerId="ADAL" clId="{FC37BFA0-917C-4963-A7EC-F87FA73709AD}" dt="2018-05-05T07:11:23.052" v="38" actId="1076"/>
          <ac:picMkLst>
            <pc:docMk/>
            <pc:sldMk cId="3373537527" sldId="300"/>
            <ac:picMk id="4" creationId="{DBA5A887-51D1-4BBA-83F3-3B7121AD296F}"/>
          </ac:picMkLst>
        </pc:picChg>
      </pc:sldChg>
      <pc:sldChg chg="addSp delSp modSp add del">
        <pc:chgData name="Sandeep Reddy Hanumaihgari" userId="86a9f56c-2e65-4a80-9d64-63b9c07412a6" providerId="ADAL" clId="{FC37BFA0-917C-4963-A7EC-F87FA73709AD}" dt="2018-05-05T07:22:55.833" v="102" actId="2696"/>
        <pc:sldMkLst>
          <pc:docMk/>
          <pc:sldMk cId="3072053884" sldId="301"/>
        </pc:sldMkLst>
        <pc:spChg chg="mod">
          <ac:chgData name="Sandeep Reddy Hanumaihgari" userId="86a9f56c-2e65-4a80-9d64-63b9c07412a6" providerId="ADAL" clId="{FC37BFA0-917C-4963-A7EC-F87FA73709AD}" dt="2018-05-05T07:15:14.467" v="66" actId="1076"/>
          <ac:spMkLst>
            <pc:docMk/>
            <pc:sldMk cId="3072053884" sldId="301"/>
            <ac:spMk id="2" creationId="{2617DC81-BD40-4A47-995A-78EEA9A37110}"/>
          </ac:spMkLst>
        </pc:spChg>
        <pc:spChg chg="del">
          <ac:chgData name="Sandeep Reddy Hanumaihgari" userId="86a9f56c-2e65-4a80-9d64-63b9c07412a6" providerId="ADAL" clId="{FC37BFA0-917C-4963-A7EC-F87FA73709AD}" dt="2018-05-05T07:15:17.533" v="67" actId="478"/>
          <ac:spMkLst>
            <pc:docMk/>
            <pc:sldMk cId="3072053884" sldId="301"/>
            <ac:spMk id="3" creationId="{F601256D-A677-4920-B909-30DA8131C95B}"/>
          </ac:spMkLst>
        </pc:spChg>
        <pc:picChg chg="add mod">
          <ac:chgData name="Sandeep Reddy Hanumaihgari" userId="86a9f56c-2e65-4a80-9d64-63b9c07412a6" providerId="ADAL" clId="{FC37BFA0-917C-4963-A7EC-F87FA73709AD}" dt="2018-05-05T07:15:36.117" v="69" actId="1076"/>
          <ac:picMkLst>
            <pc:docMk/>
            <pc:sldMk cId="3072053884" sldId="301"/>
            <ac:picMk id="4" creationId="{A2653FF5-DFFD-410D-934D-DD30BDCDEC78}"/>
          </ac:picMkLst>
        </pc:picChg>
      </pc:sldChg>
      <pc:sldChg chg="addSp delSp modSp add del">
        <pc:chgData name="Sandeep Reddy Hanumaihgari" userId="86a9f56c-2e65-4a80-9d64-63b9c07412a6" providerId="ADAL" clId="{FC37BFA0-917C-4963-A7EC-F87FA73709AD}" dt="2018-05-05T07:22:55.849" v="103" actId="2696"/>
        <pc:sldMkLst>
          <pc:docMk/>
          <pc:sldMk cId="3020257192" sldId="302"/>
        </pc:sldMkLst>
        <pc:spChg chg="mod">
          <ac:chgData name="Sandeep Reddy Hanumaihgari" userId="86a9f56c-2e65-4a80-9d64-63b9c07412a6" providerId="ADAL" clId="{FC37BFA0-917C-4963-A7EC-F87FA73709AD}" dt="2018-05-05T07:15:45.606" v="71" actId="2696"/>
          <ac:spMkLst>
            <pc:docMk/>
            <pc:sldMk cId="3020257192" sldId="302"/>
            <ac:spMk id="2" creationId="{886DFED5-8EC2-46FC-A8C5-9790AD2E9484}"/>
          </ac:spMkLst>
        </pc:spChg>
        <pc:spChg chg="del">
          <ac:chgData name="Sandeep Reddy Hanumaihgari" userId="86a9f56c-2e65-4a80-9d64-63b9c07412a6" providerId="ADAL" clId="{FC37BFA0-917C-4963-A7EC-F87FA73709AD}" dt="2018-05-05T07:15:49.321" v="72" actId="478"/>
          <ac:spMkLst>
            <pc:docMk/>
            <pc:sldMk cId="3020257192" sldId="302"/>
            <ac:spMk id="3" creationId="{0CF6CA0A-88AD-4A76-87C4-7B800D232D5C}"/>
          </ac:spMkLst>
        </pc:spChg>
        <pc:picChg chg="add">
          <ac:chgData name="Sandeep Reddy Hanumaihgari" userId="86a9f56c-2e65-4a80-9d64-63b9c07412a6" providerId="ADAL" clId="{FC37BFA0-917C-4963-A7EC-F87FA73709AD}" dt="2018-05-05T07:16:02.661" v="73" actId="2696"/>
          <ac:picMkLst>
            <pc:docMk/>
            <pc:sldMk cId="3020257192" sldId="302"/>
            <ac:picMk id="4" creationId="{6470A23F-079F-4308-A22F-F330D0C1073B}"/>
          </ac:picMkLst>
        </pc:picChg>
      </pc:sldChg>
      <pc:sldChg chg="addSp delSp modSp add del">
        <pc:chgData name="Sandeep Reddy Hanumaihgari" userId="86a9f56c-2e65-4a80-9d64-63b9c07412a6" providerId="ADAL" clId="{FC37BFA0-917C-4963-A7EC-F87FA73709AD}" dt="2018-05-05T07:22:55.864" v="104" actId="2696"/>
        <pc:sldMkLst>
          <pc:docMk/>
          <pc:sldMk cId="1966605359" sldId="303"/>
        </pc:sldMkLst>
        <pc:spChg chg="mod">
          <ac:chgData name="Sandeep Reddy Hanumaihgari" userId="86a9f56c-2e65-4a80-9d64-63b9c07412a6" providerId="ADAL" clId="{FC37BFA0-917C-4963-A7EC-F87FA73709AD}" dt="2018-05-05T07:16:15.716" v="75" actId="1076"/>
          <ac:spMkLst>
            <pc:docMk/>
            <pc:sldMk cId="1966605359" sldId="303"/>
            <ac:spMk id="2" creationId="{AC3C47AA-F0A0-43CF-83AA-BF4807CEFA36}"/>
          </ac:spMkLst>
        </pc:spChg>
        <pc:spChg chg="del">
          <ac:chgData name="Sandeep Reddy Hanumaihgari" userId="86a9f56c-2e65-4a80-9d64-63b9c07412a6" providerId="ADAL" clId="{FC37BFA0-917C-4963-A7EC-F87FA73709AD}" dt="2018-05-05T07:16:34.809" v="76" actId="1076"/>
          <ac:spMkLst>
            <pc:docMk/>
            <pc:sldMk cId="1966605359" sldId="303"/>
            <ac:spMk id="3" creationId="{C5870824-0168-4674-AE98-9EA5BF8EA6F9}"/>
          </ac:spMkLst>
        </pc:spChg>
        <pc:picChg chg="add mod">
          <ac:chgData name="Sandeep Reddy Hanumaihgari" userId="86a9f56c-2e65-4a80-9d64-63b9c07412a6" providerId="ADAL" clId="{FC37BFA0-917C-4963-A7EC-F87FA73709AD}" dt="2018-05-05T07:16:38.886" v="77" actId="1076"/>
          <ac:picMkLst>
            <pc:docMk/>
            <pc:sldMk cId="1966605359" sldId="303"/>
            <ac:picMk id="4" creationId="{60D88B1E-C55B-4F8C-8C60-CE7921B60F5B}"/>
          </ac:picMkLst>
        </pc:picChg>
      </pc:sldChg>
      <pc:sldChg chg="addSp delSp modSp add del">
        <pc:chgData name="Sandeep Reddy Hanumaihgari" userId="86a9f56c-2e65-4a80-9d64-63b9c07412a6" providerId="ADAL" clId="{FC37BFA0-917C-4963-A7EC-F87FA73709AD}" dt="2018-05-05T07:22:55.880" v="105" actId="2696"/>
        <pc:sldMkLst>
          <pc:docMk/>
          <pc:sldMk cId="4261760490" sldId="304"/>
        </pc:sldMkLst>
        <pc:spChg chg="mod">
          <ac:chgData name="Sandeep Reddy Hanumaihgari" userId="86a9f56c-2e65-4a80-9d64-63b9c07412a6" providerId="ADAL" clId="{FC37BFA0-917C-4963-A7EC-F87FA73709AD}" dt="2018-05-05T07:16:49.156" v="79" actId="1076"/>
          <ac:spMkLst>
            <pc:docMk/>
            <pc:sldMk cId="4261760490" sldId="304"/>
            <ac:spMk id="2" creationId="{C9571207-C6A1-4DD8-8814-F1A8C396B403}"/>
          </ac:spMkLst>
        </pc:spChg>
        <pc:spChg chg="del">
          <ac:chgData name="Sandeep Reddy Hanumaihgari" userId="86a9f56c-2e65-4a80-9d64-63b9c07412a6" providerId="ADAL" clId="{FC37BFA0-917C-4963-A7EC-F87FA73709AD}" dt="2018-05-05T07:17:54.243" v="80" actId="1076"/>
          <ac:spMkLst>
            <pc:docMk/>
            <pc:sldMk cId="4261760490" sldId="304"/>
            <ac:spMk id="3" creationId="{AABA0142-1B72-40AE-A859-E88403A06831}"/>
          </ac:spMkLst>
        </pc:spChg>
        <pc:picChg chg="add mod">
          <ac:chgData name="Sandeep Reddy Hanumaihgari" userId="86a9f56c-2e65-4a80-9d64-63b9c07412a6" providerId="ADAL" clId="{FC37BFA0-917C-4963-A7EC-F87FA73709AD}" dt="2018-05-05T07:18:00.232" v="81" actId="1076"/>
          <ac:picMkLst>
            <pc:docMk/>
            <pc:sldMk cId="4261760490" sldId="304"/>
            <ac:picMk id="4" creationId="{6D84918B-B96F-461A-8E94-2D1E4B2BBB8F}"/>
          </ac:picMkLst>
        </pc:picChg>
      </pc:sldChg>
      <pc:sldChg chg="addSp delSp modSp add del">
        <pc:chgData name="Sandeep Reddy Hanumaihgari" userId="86a9f56c-2e65-4a80-9d64-63b9c07412a6" providerId="ADAL" clId="{FC37BFA0-917C-4963-A7EC-F87FA73709AD}" dt="2018-05-05T07:22:55.880" v="106" actId="2696"/>
        <pc:sldMkLst>
          <pc:docMk/>
          <pc:sldMk cId="2541892611" sldId="305"/>
        </pc:sldMkLst>
        <pc:spChg chg="mod">
          <ac:chgData name="Sandeep Reddy Hanumaihgari" userId="86a9f56c-2e65-4a80-9d64-63b9c07412a6" providerId="ADAL" clId="{FC37BFA0-917C-4963-A7EC-F87FA73709AD}" dt="2018-05-05T07:18:37.072" v="84" actId="1076"/>
          <ac:spMkLst>
            <pc:docMk/>
            <pc:sldMk cId="2541892611" sldId="305"/>
            <ac:spMk id="2" creationId="{4207F699-7E0D-49B4-8642-EA0B45E74E78}"/>
          </ac:spMkLst>
        </pc:spChg>
        <pc:spChg chg="del">
          <ac:chgData name="Sandeep Reddy Hanumaihgari" userId="86a9f56c-2e65-4a80-9d64-63b9c07412a6" providerId="ADAL" clId="{FC37BFA0-917C-4963-A7EC-F87FA73709AD}" dt="2018-05-05T07:18:57.759" v="85" actId="1076"/>
          <ac:spMkLst>
            <pc:docMk/>
            <pc:sldMk cId="2541892611" sldId="305"/>
            <ac:spMk id="3" creationId="{ED76F08A-4956-4CB0-8078-105E11A52359}"/>
          </ac:spMkLst>
        </pc:spChg>
        <pc:picChg chg="add mod">
          <ac:chgData name="Sandeep Reddy Hanumaihgari" userId="86a9f56c-2e65-4a80-9d64-63b9c07412a6" providerId="ADAL" clId="{FC37BFA0-917C-4963-A7EC-F87FA73709AD}" dt="2018-05-05T07:19:00.262" v="86" actId="1076"/>
          <ac:picMkLst>
            <pc:docMk/>
            <pc:sldMk cId="2541892611" sldId="305"/>
            <ac:picMk id="4" creationId="{6AE0C013-0061-427D-BE96-6AD0A0F40C58}"/>
          </ac:picMkLst>
        </pc:picChg>
      </pc:sldChg>
      <pc:sldChg chg="addSp delSp modSp add del">
        <pc:chgData name="Sandeep Reddy Hanumaihgari" userId="86a9f56c-2e65-4a80-9d64-63b9c07412a6" providerId="ADAL" clId="{FC37BFA0-917C-4963-A7EC-F87FA73709AD}" dt="2018-05-05T07:22:55.896" v="107" actId="2696"/>
        <pc:sldMkLst>
          <pc:docMk/>
          <pc:sldMk cId="3797490789" sldId="306"/>
        </pc:sldMkLst>
        <pc:spChg chg="mod">
          <ac:chgData name="Sandeep Reddy Hanumaihgari" userId="86a9f56c-2e65-4a80-9d64-63b9c07412a6" providerId="ADAL" clId="{FC37BFA0-917C-4963-A7EC-F87FA73709AD}" dt="2018-05-05T07:19:13.407" v="88" actId="1076"/>
          <ac:spMkLst>
            <pc:docMk/>
            <pc:sldMk cId="3797490789" sldId="306"/>
            <ac:spMk id="2" creationId="{A388546C-6ABB-4013-980F-28B4FB746409}"/>
          </ac:spMkLst>
        </pc:spChg>
        <pc:spChg chg="del">
          <ac:chgData name="Sandeep Reddy Hanumaihgari" userId="86a9f56c-2e65-4a80-9d64-63b9c07412a6" providerId="ADAL" clId="{FC37BFA0-917C-4963-A7EC-F87FA73709AD}" dt="2018-05-05T07:19:31.030" v="89" actId="1076"/>
          <ac:spMkLst>
            <pc:docMk/>
            <pc:sldMk cId="3797490789" sldId="306"/>
            <ac:spMk id="3" creationId="{C4F387A2-CB4E-48A8-A695-ED32EAF263F7}"/>
          </ac:spMkLst>
        </pc:spChg>
        <pc:picChg chg="add mod">
          <ac:chgData name="Sandeep Reddy Hanumaihgari" userId="86a9f56c-2e65-4a80-9d64-63b9c07412a6" providerId="ADAL" clId="{FC37BFA0-917C-4963-A7EC-F87FA73709AD}" dt="2018-05-05T07:19:41.242" v="91" actId="1076"/>
          <ac:picMkLst>
            <pc:docMk/>
            <pc:sldMk cId="3797490789" sldId="306"/>
            <ac:picMk id="4" creationId="{7A1FCDDB-F6CA-420F-9288-23701C08C5F4}"/>
          </ac:picMkLst>
        </pc:picChg>
      </pc:sldChg>
      <pc:sldChg chg="addSp delSp modSp add del">
        <pc:chgData name="Sandeep Reddy Hanumaihgari" userId="86a9f56c-2e65-4a80-9d64-63b9c07412a6" providerId="ADAL" clId="{FC37BFA0-917C-4963-A7EC-F87FA73709AD}" dt="2018-05-05T07:22:55.896" v="108" actId="2696"/>
        <pc:sldMkLst>
          <pc:docMk/>
          <pc:sldMk cId="2953426349" sldId="307"/>
        </pc:sldMkLst>
        <pc:spChg chg="mod">
          <ac:chgData name="Sandeep Reddy Hanumaihgari" userId="86a9f56c-2e65-4a80-9d64-63b9c07412a6" providerId="ADAL" clId="{FC37BFA0-917C-4963-A7EC-F87FA73709AD}" dt="2018-05-05T07:19:50.566" v="93" actId="1076"/>
          <ac:spMkLst>
            <pc:docMk/>
            <pc:sldMk cId="2953426349" sldId="307"/>
            <ac:spMk id="2" creationId="{4E16D10A-51A9-4D0A-820C-33DB2C8D24E8}"/>
          </ac:spMkLst>
        </pc:spChg>
        <pc:spChg chg="del">
          <ac:chgData name="Sandeep Reddy Hanumaihgari" userId="86a9f56c-2e65-4a80-9d64-63b9c07412a6" providerId="ADAL" clId="{FC37BFA0-917C-4963-A7EC-F87FA73709AD}" dt="2018-05-05T07:20:04.133" v="94" actId="1076"/>
          <ac:spMkLst>
            <pc:docMk/>
            <pc:sldMk cId="2953426349" sldId="307"/>
            <ac:spMk id="3" creationId="{D9A4CEDE-0AA3-4D44-8F17-8ECE47A7658F}"/>
          </ac:spMkLst>
        </pc:spChg>
        <pc:picChg chg="add mod">
          <ac:chgData name="Sandeep Reddy Hanumaihgari" userId="86a9f56c-2e65-4a80-9d64-63b9c07412a6" providerId="ADAL" clId="{FC37BFA0-917C-4963-A7EC-F87FA73709AD}" dt="2018-05-05T07:20:12.083" v="97" actId="1076"/>
          <ac:picMkLst>
            <pc:docMk/>
            <pc:sldMk cId="2953426349" sldId="307"/>
            <ac:picMk id="4" creationId="{1C32ED59-B1A5-497E-BB48-46E7E71E926A}"/>
          </ac:picMkLst>
        </pc:picChg>
      </pc:sldChg>
    </pc:docChg>
  </pc:docChgLst>
  <pc:docChgLst>
    <pc:chgData name="Sandeep Reddy Hanumaihgari" userId="86a9f56c-2e65-4a80-9d64-63b9c07412a6" providerId="ADAL" clId="{CA37A4FD-738D-4AA4-87F4-8ED9C2F182F2}"/>
  </pc:docChgLst>
  <pc:docChgLst>
    <pc:chgData name="Sandeep Reddy Hanumaihgari" userId="86a9f56c-2e65-4a80-9d64-63b9c07412a6" providerId="ADAL" clId="{71B50FF3-AB2A-448E-9D5A-19D618C94357}"/>
  </pc:docChgLst>
  <pc:docChgLst>
    <pc:chgData name="Sandeep Reddy Hanumaihgari" userId="86a9f56c-2e65-4a80-9d64-63b9c07412a6" providerId="ADAL" clId="{2C0CCE16-B012-4740-9F42-0D7A6614B4FC}"/>
  </pc:docChgLst>
  <pc:docChgLst>
    <pc:chgData name="Sandeep Reddy Hanumaihgari" userId="86a9f56c-2e65-4a80-9d64-63b9c07412a6" providerId="ADAL" clId="{7840F842-5818-48B5-9C29-7D791A968D74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79A268-BC20-4C4B-AD49-13C7E7892CCC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B614D3-19B3-4C34-9035-E38A193485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5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4"/>
            <a:ext cx="2971800" cy="457200"/>
          </a:xfrm>
          <a:prstGeom prst="rect">
            <a:avLst/>
          </a:prstGeom>
        </p:spPr>
        <p:txBody>
          <a:bodyPr/>
          <a:lstStyle/>
          <a:p>
            <a:fld id="{269BF997-9B5F-4A82-AF31-6E87F25749B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360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63B73-1F3F-48A1-868B-556C9EBE01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1542A6-BC5D-406C-BE1E-844BBBE4D4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6E802A-AAAE-4137-A3EC-78A795EA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E810E1-EA93-4156-9E4F-516D85C61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18669-54D8-4FA7-AC03-4711395A8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110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80569-26CD-4E48-AB8F-C8D393C56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DBDF74-D7DD-4F74-8204-768D6D8C87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EE0E80-DE55-4227-8F22-8B46CC3313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D90D3-5DB1-4E46-965A-43DE2A1AD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7E9E31-07F6-4BA3-89E4-4406CB6F4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2083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FB4F80-033E-40D6-8EB5-E065B96887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3FA981-8292-42BE-B5C1-A1E25890D7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2BE0CF-2BE4-4B92-BEC3-5CF0BDF96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738A02-307F-4A5A-BA7D-F53437CEE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FE8E8-723C-4492-8FB7-5544427AE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567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7705" y="1604798"/>
            <a:ext cx="11079128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4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3908" y="3094328"/>
            <a:ext cx="11082925" cy="148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7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5082424" y="6195793"/>
            <a:ext cx="2027152" cy="292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9170"/>
            <a:r>
              <a:rPr lang="en-US" sz="110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  <a:endParaRPr lang="en-US" sz="11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002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000" y="1396812"/>
            <a:ext cx="6600000" cy="1470025"/>
          </a:xfrm>
        </p:spPr>
        <p:txBody>
          <a:bodyPr anchor="t" anchorCtr="0">
            <a:noAutofit/>
          </a:bodyPr>
          <a:lstStyle>
            <a:lvl1pPr>
              <a:defRPr sz="41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8000" y="2955600"/>
            <a:ext cx="6600000" cy="1486800"/>
          </a:xfrm>
        </p:spPr>
        <p:txBody>
          <a:bodyPr>
            <a:noAutofit/>
          </a:bodyPr>
          <a:lstStyle>
            <a:lvl1pPr marL="0" indent="0" algn="l">
              <a:buNone/>
              <a:defRPr sz="2700" b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/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</a:t>
            </a:r>
            <a:r>
              <a:rPr lang="nl-NL" sz="16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-mm-</a:t>
            </a:r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3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asic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738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No 2nd top lin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00" y="378000"/>
            <a:ext cx="11655040" cy="75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200" y="1124744"/>
            <a:ext cx="11664000" cy="49628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9301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43125" y="1124744"/>
            <a:ext cx="6312000" cy="12456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12" name="AddNotifier#1"/>
          <p:cNvSpPr txBox="1">
            <a:spLocks noChangeArrowheads="1"/>
          </p:cNvSpPr>
          <p:nvPr userDrawn="1"/>
        </p:nvSpPr>
        <p:spPr bwMode="auto">
          <a:xfrm>
            <a:off x="2918917" y="3166337"/>
            <a:ext cx="6312000" cy="148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6" tIns="60948" rIns="121896" bIns="60948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nsulting, Atos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grid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line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5. © 2015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sp>
        <p:nvSpPr>
          <p:cNvPr id="7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-mm-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AddClassification"/>
          <p:cNvSpPr txBox="1">
            <a:spLocks noChangeArrowheads="1"/>
          </p:cNvSpPr>
          <p:nvPr userDrawn="1"/>
        </p:nvSpPr>
        <p:spPr bwMode="auto">
          <a:xfrm>
            <a:off x="4870315" y="6386411"/>
            <a:ext cx="2409208" cy="328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96" tIns="60948" rIns="121896" bIns="6094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425212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4F4AC-E648-434F-BEDB-346C6DBF9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312F3D-B04D-4F29-80F1-0837DC278F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58322C-9794-48D1-A122-5BFD30DD0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ECFE6F-FAAA-4B59-BBF9-67A117559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3FF35E-BA32-4430-8147-FABE21F0D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275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A721F-979D-4E0A-969B-7BB719E37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0F2DCB-7440-4EFE-84FD-C5B145200C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9ACA7C-2459-464A-91EB-8BD8D435E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82BCB3-0A02-4EF7-B31F-717F56208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DA4E46-7117-4D66-868F-0C98B7A07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32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3B745-55E6-46E8-A9C1-1D98F55C4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B1F58C-8AE0-467A-998D-E3674FEEAC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0C3FB9-B5F5-4E9A-A17A-B5D6D4D932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147810-B2A7-4D3B-A423-C016E19B1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F82A90-1D5F-4C48-B548-158C650F0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D40744-9B09-41CF-8B15-03637B1E3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51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97563-4482-4574-830B-35EECC306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71EB2-9F73-4E58-9B70-1E050A354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1C5A2C-F538-4D22-98A9-44D27C3692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E44E8-930C-40B0-835A-0A5C05D1F3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C8BB31-4C2B-4D50-8EB0-CF37B702BB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F99087-D002-4FE9-B555-9E2DC5690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5234BA-58AC-4B2A-810E-78129A0FA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C9DCA1-C6F2-4CF8-AD8A-7151584BD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720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21152-6F5D-4953-9548-73735ECF3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0916F0-D4AD-4E4E-B6B4-3A6A6BAC6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D95BE9-D92C-4FE0-AFA4-E1A698F15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98B18E-5C3A-48C0-96B0-9B54BCBC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958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5E6C72-7166-4CA2-BC9E-C452D7AB67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2E8DAF-2365-48A4-8150-C5BCAF10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2120AC-937E-4B78-B520-3A8707C5B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83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3DD97-A677-45A3-AD27-50F3B7686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9FAE0-B897-45AD-B735-9875E0B572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5F4331-14A5-4906-B535-11DFC7BB87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15BE19-62C1-4201-BE5A-06A040EF43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D9B403-FD2B-4AAB-A35A-3D5E1168B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1C00C-92D0-4167-83E0-D6C96287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998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9E95F-F2A1-41BB-8B65-1CBC83EF7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300368E-6900-484E-8EE4-2022CE8B6F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C11AFA-F4D4-4382-89A4-1033B93774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A79854-9770-4B55-9842-F704E5A9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6E9529-00BE-434D-88DD-255B69E73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CC066D-5495-4B44-B716-BD7D06054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747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3447FF-3495-4E79-BFE3-BFEE93C4F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63DAE0-3EFD-48A2-9700-FE7CE93A83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5952D2-743E-4B8A-A3A7-F3C054AA24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4BA33-A220-4C6F-97D3-EC5A351B95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C0680-4F5F-4D3E-8B9C-72D97FCC6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22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/>
          <p:nvPr/>
        </p:nvSpPr>
        <p:spPr>
          <a:xfrm>
            <a:off x="254403" y="6259454"/>
            <a:ext cx="2088024" cy="323141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en-US" sz="13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© Atos - Confidentia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600" y="312000"/>
            <a:ext cx="11664000" cy="756000"/>
          </a:xfrm>
          <a:prstGeom prst="rect">
            <a:avLst/>
          </a:prstGeom>
        </p:spPr>
        <p:txBody>
          <a:bodyPr vert="horz" lIns="121896" tIns="60948" rIns="121896" bIns="60948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0" y="1454400"/>
            <a:ext cx="11664000" cy="4633200"/>
          </a:xfrm>
          <a:prstGeom prst="rect">
            <a:avLst/>
          </a:prstGeom>
        </p:spPr>
        <p:txBody>
          <a:bodyPr vert="horz" lIns="121896" tIns="60948" rIns="121896" bIns="60948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085894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893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59926" indent="-359926" algn="l" defTabSz="121893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19839" indent="-359926" algn="l" defTabSz="1218930" rtl="0" eaLnBrk="1" latinLnBrk="0" hangingPunct="1">
        <a:spcBef>
          <a:spcPts val="512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079760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439676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799602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335204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512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97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436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9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3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92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8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6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5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 b="0" dirty="0"/>
            </a:br>
            <a:r>
              <a:rPr lang="en-US" b="0" dirty="0"/>
              <a:t> </a:t>
            </a:r>
            <a:r>
              <a:rPr lang="en-US" dirty="0"/>
              <a:t>SAP HANA Administration Tools</a:t>
            </a:r>
            <a:br>
              <a:rPr lang="en-US" dirty="0"/>
            </a:br>
            <a:r>
              <a:rPr lang="en-US" b="0" dirty="0"/>
              <a:t>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71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54FBC81-F7D6-486A-BDED-F41D1E22BE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73020" y="1432885"/>
            <a:ext cx="7845959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5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0EC470F-F8D8-478E-AE03-23036904EF6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600" y="1539916"/>
            <a:ext cx="6607590" cy="398462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904DD00-225D-4EC6-9AAC-7E4CE0CDFC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5256" y="1461053"/>
            <a:ext cx="5621079" cy="2802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64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52D81-044E-48A9-B39F-C6B99E19A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dbuserstore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C6E4B65-2360-42F7-BD37-5FACD73FBB9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36379" y="1754373"/>
            <a:ext cx="10319241" cy="351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045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8DE37A9-3591-4B2A-907B-CA7416F3D3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600" y="1139050"/>
            <a:ext cx="6188567" cy="266701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9DB8039-0D29-44ED-8405-EE5B44364B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600" y="4423657"/>
            <a:ext cx="6273628" cy="78420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DBA66EF-E157-4CF1-B732-9EF9AA9EBE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7820" y="3530568"/>
            <a:ext cx="5369971" cy="2570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7602B1-4388-46FB-90BB-55A2722EA9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sz="1400" dirty="0"/>
              <a:t>Administrators of SAP HANA systems need to know about the tools for administration and monitoring, how they are integrated with SAP HANA, and what their capabilities are.</a:t>
            </a:r>
          </a:p>
          <a:p>
            <a:pPr marL="0" indent="0">
              <a:buNone/>
            </a:pPr>
            <a:endParaRPr lang="en-IN" sz="1400" dirty="0"/>
          </a:p>
          <a:p>
            <a:pPr marL="0" indent="0">
              <a:buNone/>
            </a:pPr>
            <a:r>
              <a:rPr lang="en-IN" sz="1400" dirty="0"/>
              <a:t>Previously. the most common tool was the SAP HANA studio, but. with SPS09, the SAP HANA Cockpit is used increasingly.</a:t>
            </a:r>
          </a:p>
          <a:p>
            <a:pPr marL="0" indent="0">
              <a:buNone/>
            </a:pPr>
            <a:endParaRPr lang="en-IN" sz="1400" dirty="0"/>
          </a:p>
          <a:p>
            <a:pPr marL="0" indent="0">
              <a:buNone/>
            </a:pPr>
            <a:r>
              <a:rPr lang="en-IN" sz="1400" dirty="0"/>
              <a:t>Because several tools are available for administration of SAP HANA. it is important to know the differences between these tools</a:t>
            </a:r>
          </a:p>
          <a:p>
            <a:pPr marL="0" indent="0">
              <a:buNone/>
            </a:pPr>
            <a:endParaRPr lang="en-IN" sz="1400" dirty="0"/>
          </a:p>
          <a:p>
            <a:pPr marL="0" indent="0">
              <a:buNone/>
            </a:pPr>
            <a:endParaRPr lang="en-IN" sz="14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2D03DD4-A772-4A48-A666-A240BDBDB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200" y="392400"/>
            <a:ext cx="11664000" cy="756000"/>
          </a:xfrm>
        </p:spPr>
        <p:txBody>
          <a:bodyPr/>
          <a:lstStyle/>
          <a:p>
            <a:r>
              <a:rPr lang="en-IN" dirty="0">
                <a:latin typeface="Arial" panose="020B0604020202020204" pitchFamily="34" charset="0"/>
              </a:rPr>
              <a:t>SAP HANA Admin Tools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BD0BAA-430F-4647-8A96-980ACB5D7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7029" y="3043886"/>
            <a:ext cx="8724342" cy="292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52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8BDF3B-07B7-4D86-88DE-638353C02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140" y="428958"/>
            <a:ext cx="11350341" cy="756000"/>
          </a:xfrm>
        </p:spPr>
        <p:txBody>
          <a:bodyPr/>
          <a:lstStyle/>
          <a:p>
            <a:r>
              <a:rPr lang="en-IN" b="0" dirty="0"/>
              <a:t>Non-native SAP HANA administration tool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72AE0E-D215-46C0-9E6B-62659E598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434" y="1399192"/>
            <a:ext cx="11019047" cy="37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822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15D9483-A8B0-40BA-85AA-AC787AFBF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140" y="428958"/>
            <a:ext cx="11350341" cy="756000"/>
          </a:xfrm>
        </p:spPr>
        <p:txBody>
          <a:bodyPr/>
          <a:lstStyle/>
          <a:p>
            <a:r>
              <a:rPr lang="en-IN" b="0" dirty="0"/>
              <a:t>Native SAP HANA administration tools – SAP HANA 1.0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3CA67D-169F-4CA8-AE20-76A9FE9510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720" y="1270928"/>
            <a:ext cx="10792560" cy="4811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930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AE1CE-8C77-484F-A851-A7084B657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0" dirty="0"/>
              <a:t>Native SAP HANA administration tools – SAP HANA 2.0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BA5A887-51D1-4BBA-83F3-3B7121AD29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266" y="1382232"/>
            <a:ext cx="10201467" cy="4514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537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E551FC-0B3B-4FA4-96C7-EE444C79C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BACOCKPIT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0650CDE-EE55-45F3-A70B-0722E2574A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0851" y="1347670"/>
            <a:ext cx="5785149" cy="434698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143BC23-FCBA-461E-959A-88E523855D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9553" y="2052873"/>
            <a:ext cx="5616047" cy="333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06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41E125-77B0-4396-8BAE-5B77E5394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BACOCKPI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B7752E-2056-4A05-BAC5-D4B461908C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790" y="1316975"/>
            <a:ext cx="5914888" cy="26831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CEA0ABE-116D-4964-B363-701E90450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9024" y="1316974"/>
            <a:ext cx="5290463" cy="268314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74520B7-0BBB-4DAF-91E6-2F330D6363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2032" y="4000119"/>
            <a:ext cx="6676638" cy="212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105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00CCD-7A45-4286-ABB5-908F090B3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S Level Tools</a:t>
            </a:r>
            <a:br>
              <a:rPr lang="en-US" dirty="0"/>
            </a:br>
            <a:r>
              <a:rPr lang="en-US" dirty="0"/>
              <a:t>Shortcut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B4783A5-0E9E-4AEC-B826-0320A21646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36655" y="1347825"/>
            <a:ext cx="6607772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23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3E921-16AB-4763-A45C-A2F3C8450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dbsq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A5D632-646E-4E60-8F8D-4986D62936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sz="1400" dirty="0"/>
              <a:t>• SAP HANA HDBSQL is a command line tool for executing commands on SAP HANA </a:t>
            </a:r>
            <a:r>
              <a:rPr lang="en-US" sz="1400" dirty="0"/>
              <a:t>databases, like</a:t>
            </a:r>
          </a:p>
          <a:p>
            <a:pPr marL="0" indent="0">
              <a:buNone/>
            </a:pPr>
            <a:endParaRPr lang="en-IN" sz="1400" dirty="0"/>
          </a:p>
          <a:p>
            <a:pPr marL="0" indent="0">
              <a:buNone/>
            </a:pPr>
            <a:endParaRPr lang="en-IN" sz="1400" dirty="0"/>
          </a:p>
          <a:p>
            <a:r>
              <a:rPr lang="en-IN" sz="1400" dirty="0"/>
              <a:t>Execute SQL statements and database procedures</a:t>
            </a:r>
          </a:p>
          <a:p>
            <a:r>
              <a:rPr lang="en-IN" sz="1400" dirty="0"/>
              <a:t>Query information about database and </a:t>
            </a:r>
            <a:r>
              <a:rPr lang="en-IN" sz="1400" dirty="0" err="1"/>
              <a:t>db</a:t>
            </a:r>
            <a:r>
              <a:rPr lang="en-IN" sz="1400" dirty="0"/>
              <a:t> objects</a:t>
            </a:r>
          </a:p>
          <a:p>
            <a:r>
              <a:rPr lang="en-IN" sz="1400" dirty="0"/>
              <a:t>HDBSQL is a component of the SAP HANA software</a:t>
            </a:r>
          </a:p>
          <a:p>
            <a:r>
              <a:rPr lang="en-IN" sz="1400" dirty="0"/>
              <a:t>HDBSQL can access databases both locally and remotely</a:t>
            </a:r>
          </a:p>
          <a:p>
            <a:r>
              <a:rPr lang="en-US" sz="1400" dirty="0"/>
              <a:t>Suitable to develop scripts for autom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27E6D0-73EB-4BCC-AFE1-AD05BEBCF5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0697" y="1852535"/>
            <a:ext cx="6414903" cy="4028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3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PT-Atos_Widescreen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FBFB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4</TotalTime>
  <Words>165</Words>
  <PresentationFormat>Widescreen</PresentationFormat>
  <Paragraphs>24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Calibri Light</vt:lpstr>
      <vt:lpstr>Lucida Sans Unicode</vt:lpstr>
      <vt:lpstr>Verdana</vt:lpstr>
      <vt:lpstr>Office Theme</vt:lpstr>
      <vt:lpstr>PPT-Atos_Widescreen</vt:lpstr>
      <vt:lpstr>think-cell Slide</vt:lpstr>
      <vt:lpstr>  SAP HANA Administration Tools  </vt:lpstr>
      <vt:lpstr>SAP HANA Admin Tools</vt:lpstr>
      <vt:lpstr>Non-native SAP HANA administration tools</vt:lpstr>
      <vt:lpstr>Native SAP HANA administration tools – SAP HANA 1.0</vt:lpstr>
      <vt:lpstr>Native SAP HANA administration tools – SAP HANA 2.0</vt:lpstr>
      <vt:lpstr>DBACOCKPIT</vt:lpstr>
      <vt:lpstr>DBACOCKPIT</vt:lpstr>
      <vt:lpstr>OS Level Tools Shortcuts</vt:lpstr>
      <vt:lpstr>hdbsql</vt:lpstr>
      <vt:lpstr>PowerPoint Presentation</vt:lpstr>
      <vt:lpstr>PowerPoint Presentation</vt:lpstr>
      <vt:lpstr>hdbusersto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7-10-23T12:55:41Z</dcterms:created>
  <dcterms:modified xsi:type="dcterms:W3CDTF">2018-05-05T07:23:02Z</dcterms:modified>
</cp:coreProperties>
</file>